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media/image19.bin" ContentType="image/png"/>
  <Override PartName="/ppt/theme/theme2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sldIdLst>
    <p:sldId id="1244" r:id="rId5"/>
    <p:sldId id="324" r:id="rId6"/>
    <p:sldId id="1880" r:id="rId7"/>
    <p:sldId id="1881" r:id="rId8"/>
    <p:sldId id="1878" r:id="rId9"/>
    <p:sldId id="1879" r:id="rId10"/>
    <p:sldId id="1882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EB6"/>
    <a:srgbClr val="7F7F7F"/>
    <a:srgbClr val="2A4366"/>
    <a:srgbClr val="FFEB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59" d="100"/>
          <a:sy n="59" d="100"/>
        </p:scale>
        <p:origin x="81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41454C-565D-4612-A587-4BFC6A6C0A5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01AEC5-471F-49B6-80D6-BA767F7F5A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5203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81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30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2605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800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image" Target="../media/image12.bin"/><Relationship Id="rId7" Type="http://schemas.openxmlformats.org/officeDocument/2006/relationships/image" Target="../media/image16.bin"/><Relationship Id="rId2" Type="http://schemas.openxmlformats.org/officeDocument/2006/relationships/image" Target="../media/image1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bin"/><Relationship Id="rId5" Type="http://schemas.openxmlformats.org/officeDocument/2006/relationships/image" Target="../media/image14.bin"/><Relationship Id="rId10" Type="http://schemas.openxmlformats.org/officeDocument/2006/relationships/image" Target="../media/image19.bin"/><Relationship Id="rId4" Type="http://schemas.openxmlformats.org/officeDocument/2006/relationships/image" Target="../media/image13.bin"/><Relationship Id="rId9" Type="http://schemas.openxmlformats.org/officeDocument/2006/relationships/image" Target="../media/image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49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790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1820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534150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94210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6841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2072918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5524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5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005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822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31F03D-32BD-464F-B60E-5BA932FEA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DAEBB9-690C-4461-AC11-C049069CAF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2417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482" y="6347673"/>
            <a:ext cx="588899" cy="108350"/>
          </a:xfrm>
          <a:prstGeom prst="rect">
            <a:avLst/>
          </a:prstGeom>
          <a:noFill/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5481BB4-B952-424F-A36D-3760FB4911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81" y="6241785"/>
            <a:ext cx="811160" cy="21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603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4315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7211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Frigg Harlung-Jensen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Communic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f.harlung-jensen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Click to add phone number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636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7674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5836E-1E31-4EEB-9A21-BAE7B48BB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269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5836E-1E31-4EEB-9A21-BAE7B48BB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4FED3EF-0854-48BF-AFDD-7C0E61068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61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21264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6762" y="1174643"/>
            <a:ext cx="10843690" cy="262467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cap="none" spc="-2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56567" y="332076"/>
            <a:ext cx="10836931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8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060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7187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1174643"/>
            <a:ext cx="11498552" cy="26246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133" cap="none" spc="-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099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190211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2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6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2973621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2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2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dirty="0"/>
          </a:p>
        </p:txBody>
      </p:sp>
      <p:sp>
        <p:nvSpPr>
          <p:cNvPr id="15" name="Text Box 48"/>
          <p:cNvSpPr txBox="1">
            <a:spLocks noChangeArrowheads="1"/>
          </p:cNvSpPr>
          <p:nvPr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 dirty="0"/>
          </a:p>
        </p:txBody>
      </p:sp>
      <p:sp>
        <p:nvSpPr>
          <p:cNvPr id="18" name="AutoShape 4"/>
          <p:cNvSpPr>
            <a:spLocks/>
          </p:cNvSpPr>
          <p:nvPr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ic Innovatio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dirty="0"/>
              <a:t>Nordic Innovation</a:t>
            </a:r>
            <a:r>
              <a:rPr lang="en-GB" sz="900" b="0" baseline="0" dirty="0">
                <a:latin typeface="+mn-lt"/>
              </a:rPr>
              <a:t>-TAB </a:t>
            </a:r>
            <a:br>
              <a:rPr lang="en-GB" sz="900" b="0" baseline="0" dirty="0">
                <a:latin typeface="+mn-lt"/>
              </a:rPr>
            </a:br>
            <a:r>
              <a:rPr lang="en-GB" sz="900" b="0" baseline="0" dirty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4363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7057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541546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27600" y="332076"/>
            <a:ext cx="10026000" cy="776139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1762125"/>
            <a:ext cx="10035051" cy="4295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defRPr baseline="0"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05E2A-87B0-4228-8A34-109D76EF19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404DA6-8E1B-411C-92D3-46592DBDA3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783423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39892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4383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331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594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183384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89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emf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BA549-6FCF-4B0E-B9A1-98D3DB53644C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34699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6" imgW="416" imgH="416" progId="TCLayout.ActiveDocument.1">
                  <p:embed/>
                </p:oleObj>
              </mc:Choice>
              <mc:Fallback>
                <p:oleObj name="think-cell Slide" r:id="rId3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BA549-6FCF-4B0E-B9A1-98D3DB536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2F7F8-AD7D-4DCA-AE3B-AB0DE06655D1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F5670704-4D18-40C1-A36D-6CDA1A0E041A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6ECBDFD7-78BE-46F2-8C31-62B7E41183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469CA0-A547-443D-8C66-BFDBADDE5ABF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68" y="6390296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5DF8D1-923D-4D41-9078-72B7F541378E}"/>
              </a:ext>
            </a:extLst>
          </p:cNvPr>
          <p:cNvPicPr/>
          <p:nvPr/>
        </p:nvPicPr>
        <p:blipFill rotWithShape="1">
          <a:blip r:embed="rId3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1478" b="-1"/>
          <a:stretch/>
        </p:blipFill>
        <p:spPr>
          <a:xfrm>
            <a:off x="2052618" y="6352561"/>
            <a:ext cx="57390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tags" Target="../tags/tag14.xml"/><Relationship Id="rId7" Type="http://schemas.openxmlformats.org/officeDocument/2006/relationships/image" Target="../media/image21.emf"/><Relationship Id="rId12" Type="http://schemas.openxmlformats.org/officeDocument/2006/relationships/image" Target="../media/image2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16.xml"/><Relationship Id="rId7" Type="http://schemas.openxmlformats.org/officeDocument/2006/relationships/image" Target="../media/image2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1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Roadmap development</a:t>
            </a: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Introduction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92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55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 development – introduction 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F3BA42A7-DFC0-4916-98DA-9AEA5358D9E8}"/>
              </a:ext>
            </a:extLst>
          </p:cNvPr>
          <p:cNvSpPr/>
          <p:nvPr/>
        </p:nvSpPr>
        <p:spPr>
          <a:xfrm>
            <a:off x="7064974" y="1341121"/>
            <a:ext cx="4584482" cy="2794152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F101CF22-4B27-43B8-9275-612E145A74E9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69585A82-6D7E-4934-9C08-209B725E19B4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87F12B8-B697-4F14-8A75-7EBE43F76F33}"/>
              </a:ext>
            </a:extLst>
          </p:cNvPr>
          <p:cNvSpPr/>
          <p:nvPr/>
        </p:nvSpPr>
        <p:spPr>
          <a:xfrm>
            <a:off x="6602049" y="1341121"/>
            <a:ext cx="353483" cy="279415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0" name="Text Placeholder 1">
            <a:extLst>
              <a:ext uri="{FF2B5EF4-FFF2-40B4-BE49-F238E27FC236}">
                <a16:creationId xmlns:a16="http://schemas.microsoft.com/office/drawing/2014/main" id="{9622632B-84A9-46F5-B6AB-1FCCDFE3E2A2}"/>
              </a:ext>
            </a:extLst>
          </p:cNvPr>
          <p:cNvSpPr txBox="1">
            <a:spLocks/>
          </p:cNvSpPr>
          <p:nvPr/>
        </p:nvSpPr>
        <p:spPr>
          <a:xfrm>
            <a:off x="829733" y="2950796"/>
            <a:ext cx="5182130" cy="3325473"/>
          </a:xfrm>
          <a:prstGeom prst="rect">
            <a:avLst/>
          </a:prstGeom>
        </p:spPr>
        <p:txBody>
          <a:bodyPr lIns="72000" tIns="72000" rIns="72000" bIns="72000"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Summarize key activities required in terms of technologies, capabilities, culture, ecosystem and finance based on your earlier assessments to the ‘List of activities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’ sheet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Write key functions contributing to the implementation of your circular idea to the ‘Responsibilities and timing’ sheet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Define a timeline for your transformation journey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Define responsible functions (and if possible, name people to approach) and appropriate phase for each activity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Tip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: Use sticky notes to list the activities – it saves time and allows flexibility!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CD31FF90-07B0-41C0-AA43-8D33C2DF1C92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3EDF779-37BF-4872-A914-077016B08BA0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205" name="Text Placeholder 1">
            <a:extLst>
              <a:ext uri="{FF2B5EF4-FFF2-40B4-BE49-F238E27FC236}">
                <a16:creationId xmlns:a16="http://schemas.microsoft.com/office/drawing/2014/main" id="{15274D93-BE90-4015-ABBA-2A3F37DB920E}"/>
              </a:ext>
            </a:extLst>
          </p:cNvPr>
          <p:cNvSpPr txBox="1">
            <a:spLocks/>
          </p:cNvSpPr>
          <p:nvPr/>
        </p:nvSpPr>
        <p:spPr>
          <a:xfrm>
            <a:off x="829733" y="1341121"/>
            <a:ext cx="5182130" cy="135769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>
                <a:latin typeface="+mj-lt"/>
              </a:rPr>
              <a:t>The purpose of the roadmap development tool is to support you in planning the first steps on your circular transformation journey on a high-level, through listing key activities, estimating the time to complete them and prioritizing them into short, medium and long-term.</a:t>
            </a:r>
          </a:p>
          <a:p>
            <a:pPr marL="0" indent="0">
              <a:buNone/>
            </a:pPr>
            <a:endParaRPr lang="en-US" sz="1200">
              <a:latin typeface="+mj-lt"/>
            </a:endParaRPr>
          </a:p>
          <a:p>
            <a:pPr marL="0" indent="0">
              <a:buNone/>
            </a:pPr>
            <a:endParaRPr lang="en-US" sz="1200">
              <a:latin typeface="+mj-lt"/>
            </a:endParaRPr>
          </a:p>
          <a:p>
            <a:pPr marL="0" indent="0">
              <a:buNone/>
            </a:pPr>
            <a:endParaRPr lang="en-US" sz="1200">
              <a:latin typeface="+mj-lt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E2A3902-B21B-4C1E-84C9-03FEC436D99D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9B1A98-FB2E-4E22-92FA-6E9924086D9A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BFF05EA-0A60-4DA9-85AD-DB951FC9DAA7}"/>
              </a:ext>
            </a:extLst>
          </p:cNvPr>
          <p:cNvSpPr txBox="1"/>
          <p:nvPr/>
        </p:nvSpPr>
        <p:spPr>
          <a:xfrm>
            <a:off x="7170569" y="4331839"/>
            <a:ext cx="2996203" cy="199521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apter 5: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How to design the transformation journey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13924F8-4D07-425F-8019-5EEE55FCC9BD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800" b="0" i="1">
                <a:latin typeface="+mj-lt"/>
              </a:rPr>
              <a:t>Illustrative playbook pages – </a:t>
            </a:r>
            <a:r>
              <a:rPr lang="en-US" sz="800" i="1">
                <a:latin typeface="+mj-lt"/>
              </a:rPr>
              <a:t>please refer to the entire chapter for support.</a:t>
            </a:r>
            <a:endParaRPr lang="en-US" sz="800" b="0" i="1">
              <a:latin typeface="+mj-lt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3338CDB-1160-4960-90AF-66D32130105C}"/>
              </a:ext>
            </a:extLst>
          </p:cNvPr>
          <p:cNvSpPr txBox="1"/>
          <p:nvPr/>
        </p:nvSpPr>
        <p:spPr>
          <a:xfrm>
            <a:off x="7165828" y="5610130"/>
            <a:ext cx="1720854" cy="989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900" b="0" i="0">
                <a:latin typeface="+mj-lt"/>
              </a:rPr>
              <a:t>Three phases of th</a:t>
            </a:r>
            <a:r>
              <a:rPr lang="en-US" sz="900">
                <a:latin typeface="+mj-lt"/>
              </a:rPr>
              <a:t>e transformation journey</a:t>
            </a:r>
            <a:r>
              <a:rPr lang="en-US" sz="900" b="0" i="0">
                <a:latin typeface="+mj-lt"/>
              </a:rPr>
              <a:t>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5872F37-F10F-4AD3-AF01-6A825A2DBB6C}"/>
              </a:ext>
            </a:extLst>
          </p:cNvPr>
          <p:cNvSpPr txBox="1"/>
          <p:nvPr/>
        </p:nvSpPr>
        <p:spPr>
          <a:xfrm>
            <a:off x="9316886" y="5735074"/>
            <a:ext cx="2120985" cy="1165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900" b="0" i="0">
                <a:latin typeface="+mj-lt"/>
              </a:rPr>
              <a:t>Key barriers</a:t>
            </a:r>
            <a:r>
              <a:rPr lang="en-US" sz="900">
                <a:latin typeface="+mj-lt"/>
              </a:rPr>
              <a:t> and ways to overcome them</a:t>
            </a:r>
            <a:endParaRPr lang="en-US" sz="900" b="0" i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7D540E7-69BC-4D79-8C6F-F866435D1A1E}"/>
              </a:ext>
            </a:extLst>
          </p:cNvPr>
          <p:cNvGrpSpPr/>
          <p:nvPr/>
        </p:nvGrpSpPr>
        <p:grpSpPr>
          <a:xfrm>
            <a:off x="9316886" y="4807030"/>
            <a:ext cx="2022726" cy="894685"/>
            <a:chOff x="7165827" y="4737517"/>
            <a:chExt cx="2022726" cy="894685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AF9F4306-998F-426E-99BC-147E6EF3F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65827" y="4737517"/>
              <a:ext cx="1080000" cy="6075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1E58CE5-57AA-404D-8CAD-F870D64F6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37190" y="4881109"/>
              <a:ext cx="1080000" cy="6075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CA144337-E267-4977-BF8D-1E009BFB2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08553" y="5024702"/>
              <a:ext cx="1080000" cy="6075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AFA8E44A-E6ED-4DAD-BA9C-A87450A681F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65828" y="4803036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9B689E-8D63-45C4-A112-471345DF2F1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06682" y="4951835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69B570-9855-4D86-A698-42FBFDD14F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74603" y="1584581"/>
            <a:ext cx="2674249" cy="15042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4C9AC3-25EF-4C94-A924-3D00F4F2913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20091" y="2056624"/>
            <a:ext cx="2674249" cy="15042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E5ED666-3FD7-484D-B8BE-0319E80069E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65579" y="2528668"/>
            <a:ext cx="2674249" cy="15042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1613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03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70302D28-7D0E-4467-9C36-3913753C6D3F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 development – example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13DFBE0-3945-4F78-AD8C-D8CACE2D6FF3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Examp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2C3EF1D-F98A-426E-AF15-C4E0832F76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279" y="1496174"/>
            <a:ext cx="8098976" cy="45571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72" name="Speech Bubble: Rectangle with Corners Rounded 171">
            <a:extLst>
              <a:ext uri="{FF2B5EF4-FFF2-40B4-BE49-F238E27FC236}">
                <a16:creationId xmlns:a16="http://schemas.microsoft.com/office/drawing/2014/main" id="{2F82ADE7-2C48-45D0-AF25-98E642084E0E}"/>
              </a:ext>
            </a:extLst>
          </p:cNvPr>
          <p:cNvSpPr/>
          <p:nvPr/>
        </p:nvSpPr>
        <p:spPr>
          <a:xfrm>
            <a:off x="9125997" y="2624558"/>
            <a:ext cx="1876710" cy="1880681"/>
          </a:xfrm>
          <a:prstGeom prst="wedgeRoundRectCallout">
            <a:avLst>
              <a:gd name="adj1" fmla="val -64426"/>
              <a:gd name="adj2" fmla="val -11531"/>
              <a:gd name="adj3" fmla="val 16667"/>
            </a:avLst>
          </a:prstGeom>
          <a:solidFill>
            <a:schemeClr val="bg1">
              <a:lumMod val="50000"/>
            </a:schemeClr>
          </a:solidFill>
          <a:ln w="28575">
            <a:solidFill>
              <a:schemeClr val="bg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llustrative example for </a:t>
            </a:r>
            <a:r>
              <a:rPr lang="en-GB" sz="1200" b="1" i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ild to last </a:t>
            </a:r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siness model with consecutive development of </a:t>
            </a:r>
            <a:r>
              <a:rPr lang="en-GB" sz="1200" b="1" i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pair &amp; Maintain</a:t>
            </a:r>
          </a:p>
        </p:txBody>
      </p:sp>
    </p:spTree>
    <p:extLst>
      <p:ext uri="{BB962C8B-B14F-4D97-AF65-F5344CB8AC3E}">
        <p14:creationId xmlns:p14="http://schemas.microsoft.com/office/powerpoint/2010/main" val="3803747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4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Roadmap development</a:t>
            </a: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Tool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7308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D48ECF-22CC-4819-B56F-B949C1D582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8342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D48ECF-22CC-4819-B56F-B949C1D58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43C573F-1AEF-47CF-828B-CC9725A5A6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F7AF17B-7176-4E0A-B7AF-C14F39485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167" y="391584"/>
            <a:ext cx="10837333" cy="1284816"/>
          </a:xfrm>
        </p:spPr>
        <p:txBody>
          <a:bodyPr/>
          <a:lstStyle/>
          <a:p>
            <a:r>
              <a:rPr lang="en-US" dirty="0"/>
              <a:t>Template: Roadmap development – List of activities (1/2)</a:t>
            </a:r>
            <a:br>
              <a:rPr lang="en-US" dirty="0"/>
            </a:b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7FE284-0F69-4B6B-921C-00BF98A666D1}"/>
              </a:ext>
            </a:extLst>
          </p:cNvPr>
          <p:cNvSpPr txBox="1"/>
          <p:nvPr/>
        </p:nvSpPr>
        <p:spPr>
          <a:xfrm>
            <a:off x="444558" y="4602841"/>
            <a:ext cx="184666" cy="1659059"/>
          </a:xfrm>
          <a:prstGeom prst="rect">
            <a:avLst/>
          </a:prstGeom>
          <a:solidFill>
            <a:schemeClr val="accent2"/>
          </a:solidFill>
          <a:ln w="6350">
            <a:solidFill>
              <a:srgbClr val="006EB6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latin typeface="+mj-lt"/>
              </a:rPr>
              <a:t>Cul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E0EA77-C2E7-4B65-B2BD-8F5494C03196}"/>
              </a:ext>
            </a:extLst>
          </p:cNvPr>
          <p:cNvSpPr/>
          <p:nvPr/>
        </p:nvSpPr>
        <p:spPr>
          <a:xfrm>
            <a:off x="675500" y="4606372"/>
            <a:ext cx="7274016" cy="16590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925DA8-6B3C-457E-8E47-552FEC6F5B56}"/>
              </a:ext>
            </a:extLst>
          </p:cNvPr>
          <p:cNvGrpSpPr/>
          <p:nvPr/>
        </p:nvGrpSpPr>
        <p:grpSpPr>
          <a:xfrm>
            <a:off x="444558" y="1174340"/>
            <a:ext cx="11315643" cy="1666122"/>
            <a:chOff x="444558" y="1156836"/>
            <a:chExt cx="11315643" cy="166612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B32B479-D6DE-4987-84DB-53D251018085}"/>
                </a:ext>
              </a:extLst>
            </p:cNvPr>
            <p:cNvSpPr txBox="1"/>
            <p:nvPr/>
          </p:nvSpPr>
          <p:spPr>
            <a:xfrm>
              <a:off x="444558" y="1163899"/>
              <a:ext cx="184666" cy="1659059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rgbClr val="006EB6"/>
              </a:solidFill>
            </a:ln>
          </p:spPr>
          <p:txBody>
            <a:bodyPr vert="vert270" wrap="square" lIns="0" tIns="0" rIns="0" bIns="0" rtlCol="0">
              <a:spAutoFit/>
            </a:bodyPr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+mj-lt"/>
                </a:rPr>
                <a:t>Technologi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F8F83C-C976-4F88-986D-87D6F32215F7}"/>
                </a:ext>
              </a:extLst>
            </p:cNvPr>
            <p:cNvSpPr/>
            <p:nvPr/>
          </p:nvSpPr>
          <p:spPr>
            <a:xfrm>
              <a:off x="675503" y="1163899"/>
              <a:ext cx="7274016" cy="165905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55ED0B6-3F77-4997-9C94-EAFF71519381}"/>
                </a:ext>
              </a:extLst>
            </p:cNvPr>
            <p:cNvSpPr/>
            <p:nvPr/>
          </p:nvSpPr>
          <p:spPr>
            <a:xfrm>
              <a:off x="8015824" y="1156836"/>
              <a:ext cx="3744377" cy="165905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7DDFAEF-4409-448D-853C-D752BE81AC7A}"/>
              </a:ext>
            </a:extLst>
          </p:cNvPr>
          <p:cNvGrpSpPr/>
          <p:nvPr/>
        </p:nvGrpSpPr>
        <p:grpSpPr>
          <a:xfrm>
            <a:off x="444558" y="2886825"/>
            <a:ext cx="11315641" cy="1666122"/>
            <a:chOff x="444558" y="2891789"/>
            <a:chExt cx="11315641" cy="166612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F2E9C7F-5F05-4693-ABC6-8C7486391940}"/>
                </a:ext>
              </a:extLst>
            </p:cNvPr>
            <p:cNvSpPr txBox="1"/>
            <p:nvPr/>
          </p:nvSpPr>
          <p:spPr>
            <a:xfrm>
              <a:off x="444558" y="2897085"/>
              <a:ext cx="184666" cy="1659059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rgbClr val="006EB6"/>
              </a:solidFill>
            </a:ln>
          </p:spPr>
          <p:txBody>
            <a:bodyPr vert="vert270" wrap="square" lIns="0" tIns="0" rIns="0" bIns="0" rtlCol="0">
              <a:spAutoFit/>
            </a:bodyPr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+mj-lt"/>
                </a:rPr>
                <a:t>Capabilitie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8AB4BD3-1043-4E27-A282-D8A02B77A36B}"/>
                </a:ext>
              </a:extLst>
            </p:cNvPr>
            <p:cNvSpPr/>
            <p:nvPr/>
          </p:nvSpPr>
          <p:spPr>
            <a:xfrm>
              <a:off x="675501" y="2898852"/>
              <a:ext cx="7274016" cy="165905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0E3ADAE-3006-452B-94CE-D45B0812A387}"/>
                </a:ext>
              </a:extLst>
            </p:cNvPr>
            <p:cNvSpPr/>
            <p:nvPr/>
          </p:nvSpPr>
          <p:spPr>
            <a:xfrm>
              <a:off x="8015822" y="2891789"/>
              <a:ext cx="3744377" cy="165905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BDD66D3A-4B46-4899-94F6-50EB12E90E5C}"/>
              </a:ext>
            </a:extLst>
          </p:cNvPr>
          <p:cNvSpPr/>
          <p:nvPr/>
        </p:nvSpPr>
        <p:spPr>
          <a:xfrm>
            <a:off x="8015821" y="4599309"/>
            <a:ext cx="3744377" cy="16590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9E7197-3386-47A4-9C66-2A044DDA192C}"/>
              </a:ext>
            </a:extLst>
          </p:cNvPr>
          <p:cNvSpPr/>
          <p:nvPr/>
        </p:nvSpPr>
        <p:spPr>
          <a:xfrm>
            <a:off x="675497" y="782583"/>
            <a:ext cx="7274016" cy="34744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6350">
            <a:solidFill>
              <a:srgbClr val="7F7F7F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st key activities with estimate of required time (think about short- and long-term)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89CA8F9-2E1B-44F9-B59C-595547C203A8}"/>
              </a:ext>
            </a:extLst>
          </p:cNvPr>
          <p:cNvSpPr/>
          <p:nvPr/>
        </p:nvSpPr>
        <p:spPr>
          <a:xfrm>
            <a:off x="8015817" y="780533"/>
            <a:ext cx="3744377" cy="34744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6350">
            <a:solidFill>
              <a:srgbClr val="7F7F7F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st key milestones (with indication of when milestones need to be achieved)</a:t>
            </a:r>
          </a:p>
        </p:txBody>
      </p:sp>
    </p:spTree>
    <p:extLst>
      <p:ext uri="{BB962C8B-B14F-4D97-AF65-F5344CB8AC3E}">
        <p14:creationId xmlns:p14="http://schemas.microsoft.com/office/powerpoint/2010/main" val="1091105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D48ECF-22CC-4819-B56F-B949C1D582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70092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D48ECF-22CC-4819-B56F-B949C1D58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43C573F-1AEF-47CF-828B-CC9725A5A6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F7AF17B-7176-4E0A-B7AF-C14F39485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167" y="391584"/>
            <a:ext cx="10837333" cy="1284816"/>
          </a:xfrm>
        </p:spPr>
        <p:txBody>
          <a:bodyPr/>
          <a:lstStyle/>
          <a:p>
            <a:r>
              <a:rPr lang="en-US" dirty="0"/>
              <a:t>Template: Roadmap development – List of activities (2/2)</a:t>
            </a:r>
            <a:br>
              <a:rPr lang="en-US" dirty="0"/>
            </a:b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FDC5B9E-4B6E-469F-B8FA-0298424BE9BF}"/>
              </a:ext>
            </a:extLst>
          </p:cNvPr>
          <p:cNvGrpSpPr/>
          <p:nvPr/>
        </p:nvGrpSpPr>
        <p:grpSpPr>
          <a:xfrm>
            <a:off x="444558" y="1174340"/>
            <a:ext cx="11315643" cy="5091091"/>
            <a:chOff x="444558" y="1174340"/>
            <a:chExt cx="11315643" cy="337860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7CF575E-15EE-401E-81C2-70439C643E6F}"/>
                </a:ext>
              </a:extLst>
            </p:cNvPr>
            <p:cNvGrpSpPr/>
            <p:nvPr/>
          </p:nvGrpSpPr>
          <p:grpSpPr>
            <a:xfrm>
              <a:off x="444558" y="1174340"/>
              <a:ext cx="11315643" cy="1666122"/>
              <a:chOff x="444558" y="1156836"/>
              <a:chExt cx="11315643" cy="1666122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9405500D-AEFC-4197-963B-354AD08D94F5}"/>
                  </a:ext>
                </a:extLst>
              </p:cNvPr>
              <p:cNvSpPr txBox="1"/>
              <p:nvPr/>
            </p:nvSpPr>
            <p:spPr>
              <a:xfrm>
                <a:off x="444558" y="1163899"/>
                <a:ext cx="184666" cy="1659059"/>
              </a:xfrm>
              <a:prstGeom prst="rect">
                <a:avLst/>
              </a:prstGeom>
              <a:solidFill>
                <a:schemeClr val="accent2"/>
              </a:solidFill>
              <a:ln w="6350">
                <a:solidFill>
                  <a:srgbClr val="006EB6"/>
                </a:solidFill>
              </a:ln>
            </p:spPr>
            <p:txBody>
              <a:bodyPr vert="vert270" wrap="square" lIns="0" tIns="0" rIns="0" bIns="0" rtlCol="0">
                <a:sp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1200" b="1" dirty="0">
                    <a:solidFill>
                      <a:srgbClr val="FFFFFF"/>
                    </a:solidFill>
                    <a:latin typeface="+mj-lt"/>
                  </a:rPr>
                  <a:t>Ecosystem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7A879E77-6406-4E49-A120-DA7FA25D5245}"/>
                  </a:ext>
                </a:extLst>
              </p:cNvPr>
              <p:cNvSpPr/>
              <p:nvPr/>
            </p:nvSpPr>
            <p:spPr>
              <a:xfrm>
                <a:off x="675503" y="1163899"/>
                <a:ext cx="7274016" cy="165905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txBody>
  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2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DEFDD16-6C32-4DEF-94C3-A89167F172D0}"/>
                  </a:ext>
                </a:extLst>
              </p:cNvPr>
              <p:cNvSpPr/>
              <p:nvPr/>
            </p:nvSpPr>
            <p:spPr>
              <a:xfrm>
                <a:off x="8015824" y="1156836"/>
                <a:ext cx="3744377" cy="165905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txBody>
  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2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E141B0F-F440-4A02-BC9C-E1572E6C4C86}"/>
                </a:ext>
              </a:extLst>
            </p:cNvPr>
            <p:cNvGrpSpPr/>
            <p:nvPr/>
          </p:nvGrpSpPr>
          <p:grpSpPr>
            <a:xfrm>
              <a:off x="444558" y="2886825"/>
              <a:ext cx="11315641" cy="1666122"/>
              <a:chOff x="444558" y="2891789"/>
              <a:chExt cx="11315641" cy="166612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EF83C47-3C93-4E7D-AFCF-3781B69E9A4C}"/>
                  </a:ext>
                </a:extLst>
              </p:cNvPr>
              <p:cNvSpPr txBox="1"/>
              <p:nvPr/>
            </p:nvSpPr>
            <p:spPr>
              <a:xfrm>
                <a:off x="444558" y="2897085"/>
                <a:ext cx="184666" cy="1659059"/>
              </a:xfrm>
              <a:prstGeom prst="rect">
                <a:avLst/>
              </a:prstGeom>
              <a:solidFill>
                <a:schemeClr val="accent2"/>
              </a:solidFill>
              <a:ln w="6350">
                <a:solidFill>
                  <a:srgbClr val="006EB6"/>
                </a:solidFill>
              </a:ln>
            </p:spPr>
            <p:txBody>
              <a:bodyPr vert="vert270" wrap="square" lIns="0" tIns="0" rIns="0" bIns="0" rtlCol="0">
                <a:sp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1200" b="1" dirty="0">
                    <a:solidFill>
                      <a:srgbClr val="FFFFFF"/>
                    </a:solidFill>
                    <a:latin typeface="+mj-lt"/>
                  </a:rPr>
                  <a:t>Finance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2789F56-ABBD-4B89-958E-B7678EFCCC33}"/>
                  </a:ext>
                </a:extLst>
              </p:cNvPr>
              <p:cNvSpPr/>
              <p:nvPr/>
            </p:nvSpPr>
            <p:spPr>
              <a:xfrm>
                <a:off x="675501" y="2898852"/>
                <a:ext cx="7274016" cy="165905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txBody>
  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2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D6A71229-ECEC-4612-94D4-62D7D846751C}"/>
                  </a:ext>
                </a:extLst>
              </p:cNvPr>
              <p:cNvSpPr/>
              <p:nvPr/>
            </p:nvSpPr>
            <p:spPr>
              <a:xfrm>
                <a:off x="8015822" y="2891789"/>
                <a:ext cx="3744377" cy="165905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txBody>
  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2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F0ACC31-9A96-491C-9BCD-9B9667B81D19}"/>
              </a:ext>
            </a:extLst>
          </p:cNvPr>
          <p:cNvSpPr/>
          <p:nvPr/>
        </p:nvSpPr>
        <p:spPr>
          <a:xfrm>
            <a:off x="675497" y="782583"/>
            <a:ext cx="7274016" cy="34744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6350">
            <a:solidFill>
              <a:srgbClr val="7F7F7F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st key activities with estimate of required time (think about short- and long-term)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E80AD5B-039C-4144-BA65-D88625F2FA45}"/>
              </a:ext>
            </a:extLst>
          </p:cNvPr>
          <p:cNvSpPr/>
          <p:nvPr/>
        </p:nvSpPr>
        <p:spPr>
          <a:xfrm>
            <a:off x="8015817" y="780533"/>
            <a:ext cx="3744377" cy="34744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6350">
            <a:solidFill>
              <a:srgbClr val="7F7F7F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st key milestones (with indication of when milestones need to be achieved)</a:t>
            </a:r>
          </a:p>
        </p:txBody>
      </p:sp>
    </p:spTree>
    <p:extLst>
      <p:ext uri="{BB962C8B-B14F-4D97-AF65-F5344CB8AC3E}">
        <p14:creationId xmlns:p14="http://schemas.microsoft.com/office/powerpoint/2010/main" val="10998254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9E2721-75C9-49A4-9496-D1F5D7D2B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67315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9E2721-75C9-49A4-9496-D1F5D7D2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952BF6D-9FFC-48B3-9CA6-4B9908D5CC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3CFA1AE-E7B5-4194-9FA5-055D19C7C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569" y="391029"/>
            <a:ext cx="10836932" cy="1285875"/>
          </a:xfrm>
        </p:spPr>
        <p:txBody>
          <a:bodyPr/>
          <a:lstStyle/>
          <a:p>
            <a:r>
              <a:rPr lang="en-US" noProof="0" dirty="0"/>
              <a:t>Template: Roadmap development – Responsibilities and timing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D896542-272D-4D8F-A0A2-C670DBF46B60}"/>
              </a:ext>
            </a:extLst>
          </p:cNvPr>
          <p:cNvSpPr txBox="1"/>
          <p:nvPr/>
        </p:nvSpPr>
        <p:spPr>
          <a:xfrm>
            <a:off x="168671" y="2631419"/>
            <a:ext cx="521429" cy="84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r>
              <a:rPr lang="en-GB" sz="1067" b="1" dirty="0">
                <a:solidFill>
                  <a:srgbClr val="000000"/>
                </a:solidFill>
                <a:latin typeface="+mj-lt"/>
              </a:rPr>
              <a:t>Function 2: </a:t>
            </a:r>
          </a:p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575DD3-1291-47B6-942D-F390B10C0889}"/>
              </a:ext>
            </a:extLst>
          </p:cNvPr>
          <p:cNvSpPr txBox="1"/>
          <p:nvPr/>
        </p:nvSpPr>
        <p:spPr>
          <a:xfrm>
            <a:off x="168671" y="3541374"/>
            <a:ext cx="521429" cy="84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r>
              <a:rPr lang="en-GB" sz="1067" b="1" dirty="0">
                <a:solidFill>
                  <a:srgbClr val="000000"/>
                </a:solidFill>
                <a:latin typeface="+mj-lt"/>
              </a:rPr>
              <a:t>Function 3:</a:t>
            </a:r>
            <a:endParaRPr lang="en-GB" sz="1067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97E2AAFB-CBEC-4C6B-80DC-8D0F88CDEECD}"/>
              </a:ext>
            </a:extLst>
          </p:cNvPr>
          <p:cNvSpPr txBox="1"/>
          <p:nvPr/>
        </p:nvSpPr>
        <p:spPr>
          <a:xfrm>
            <a:off x="168671" y="4451327"/>
            <a:ext cx="521429" cy="84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r>
              <a:rPr lang="en-GB" sz="1067" b="1" dirty="0">
                <a:solidFill>
                  <a:srgbClr val="000000"/>
                </a:solidFill>
                <a:latin typeface="+mj-lt"/>
              </a:rPr>
              <a:t>Function 4: </a:t>
            </a:r>
          </a:p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endParaRPr lang="en-GB" sz="1067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91C84E5D-ECBE-4CDE-917E-832A7B61EF44}"/>
              </a:ext>
            </a:extLst>
          </p:cNvPr>
          <p:cNvSpPr txBox="1"/>
          <p:nvPr/>
        </p:nvSpPr>
        <p:spPr>
          <a:xfrm>
            <a:off x="168671" y="5361279"/>
            <a:ext cx="521429" cy="84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r>
              <a:rPr lang="en-GB" sz="1067" b="1" dirty="0">
                <a:solidFill>
                  <a:srgbClr val="000000"/>
                </a:solidFill>
                <a:latin typeface="+mj-lt"/>
              </a:rPr>
              <a:t>Function 5: </a:t>
            </a:r>
          </a:p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endParaRPr lang="en-GB" sz="1067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BE15055-8637-493C-9D10-9BD741BCBF1B}"/>
              </a:ext>
            </a:extLst>
          </p:cNvPr>
          <p:cNvSpPr txBox="1"/>
          <p:nvPr/>
        </p:nvSpPr>
        <p:spPr>
          <a:xfrm>
            <a:off x="168671" y="1721466"/>
            <a:ext cx="521429" cy="84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algn="ctr" defTabSz="1219140">
              <a:spcBef>
                <a:spcPts val="800"/>
              </a:spcBef>
              <a:tabLst>
                <a:tab pos="601104" algn="l"/>
              </a:tabLst>
            </a:pPr>
            <a:r>
              <a:rPr lang="en-GB" sz="1067" b="1" dirty="0">
                <a:solidFill>
                  <a:srgbClr val="000000"/>
                </a:solidFill>
                <a:latin typeface="+mj-lt"/>
              </a:rPr>
              <a:t>Function 1: </a:t>
            </a:r>
          </a:p>
        </p:txBody>
      </p:sp>
      <p:cxnSp>
        <p:nvCxnSpPr>
          <p:cNvPr id="14" name="Straight Arrow Connector 73">
            <a:extLst>
              <a:ext uri="{FF2B5EF4-FFF2-40B4-BE49-F238E27FC236}">
                <a16:creationId xmlns:a16="http://schemas.microsoft.com/office/drawing/2014/main" id="{FE90802F-A995-4B60-893E-E2C19F97F3A2}"/>
              </a:ext>
            </a:extLst>
          </p:cNvPr>
          <p:cNvCxnSpPr>
            <a:cxnSpLocks/>
          </p:cNvCxnSpPr>
          <p:nvPr/>
        </p:nvCxnSpPr>
        <p:spPr>
          <a:xfrm flipV="1">
            <a:off x="662539" y="1544171"/>
            <a:ext cx="10804031" cy="23023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: Top Corners Rounded 40">
            <a:extLst>
              <a:ext uri="{FF2B5EF4-FFF2-40B4-BE49-F238E27FC236}">
                <a16:creationId xmlns:a16="http://schemas.microsoft.com/office/drawing/2014/main" id="{D4E06BB6-252C-4E08-AD07-4D35AA8EB44F}"/>
              </a:ext>
            </a:extLst>
          </p:cNvPr>
          <p:cNvSpPr/>
          <p:nvPr/>
        </p:nvSpPr>
        <p:spPr>
          <a:xfrm>
            <a:off x="4018586" y="786294"/>
            <a:ext cx="3850823" cy="549017"/>
          </a:xfrm>
          <a:prstGeom prst="round2Same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19140"/>
            <a:r>
              <a:rPr lang="en-GB" sz="1333" b="1" dirty="0">
                <a:solidFill>
                  <a:srgbClr val="FFFFFF"/>
                </a:solidFill>
                <a:latin typeface="+mj-lt"/>
              </a:rPr>
              <a:t>II. Attract &amp; Win</a:t>
            </a:r>
          </a:p>
        </p:txBody>
      </p:sp>
      <p:sp>
        <p:nvSpPr>
          <p:cNvPr id="16" name="Rectangle: Top Corners Rounded 41">
            <a:extLst>
              <a:ext uri="{FF2B5EF4-FFF2-40B4-BE49-F238E27FC236}">
                <a16:creationId xmlns:a16="http://schemas.microsoft.com/office/drawing/2014/main" id="{2810D8F5-C44D-4F7A-B922-BA8032072C13}"/>
              </a:ext>
            </a:extLst>
          </p:cNvPr>
          <p:cNvSpPr/>
          <p:nvPr/>
        </p:nvSpPr>
        <p:spPr>
          <a:xfrm>
            <a:off x="7913124" y="786294"/>
            <a:ext cx="3580377" cy="549017"/>
          </a:xfrm>
          <a:prstGeom prst="round2Same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19140"/>
            <a:r>
              <a:rPr lang="en-GB" sz="1333" b="1" dirty="0">
                <a:solidFill>
                  <a:srgbClr val="FFFFFF"/>
                </a:solidFill>
                <a:latin typeface="+mj-lt"/>
              </a:rPr>
              <a:t>III. Scale fast &amp; keep growing</a:t>
            </a:r>
          </a:p>
        </p:txBody>
      </p:sp>
      <p:sp>
        <p:nvSpPr>
          <p:cNvPr id="17" name="Rectangle 30">
            <a:extLst>
              <a:ext uri="{FF2B5EF4-FFF2-40B4-BE49-F238E27FC236}">
                <a16:creationId xmlns:a16="http://schemas.microsoft.com/office/drawing/2014/main" id="{72F5002B-2541-4425-A9B1-CF4F0B263A9B}"/>
              </a:ext>
            </a:extLst>
          </p:cNvPr>
          <p:cNvSpPr/>
          <p:nvPr/>
        </p:nvSpPr>
        <p:spPr>
          <a:xfrm>
            <a:off x="656568" y="1721466"/>
            <a:ext cx="10810000" cy="846613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/>
            <a:endParaRPr lang="en-GB" sz="1333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18" name="Rectangle 32">
            <a:extLst>
              <a:ext uri="{FF2B5EF4-FFF2-40B4-BE49-F238E27FC236}">
                <a16:creationId xmlns:a16="http://schemas.microsoft.com/office/drawing/2014/main" id="{11A94FC0-8E60-40D1-888F-83EF7B4DBBCA}"/>
              </a:ext>
            </a:extLst>
          </p:cNvPr>
          <p:cNvSpPr/>
          <p:nvPr/>
        </p:nvSpPr>
        <p:spPr>
          <a:xfrm>
            <a:off x="656568" y="2631419"/>
            <a:ext cx="10810000" cy="846613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/>
            <a:endParaRPr lang="en-GB" sz="1333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19" name="Rectangle 33">
            <a:extLst>
              <a:ext uri="{FF2B5EF4-FFF2-40B4-BE49-F238E27FC236}">
                <a16:creationId xmlns:a16="http://schemas.microsoft.com/office/drawing/2014/main" id="{669AE059-916E-49E4-8844-7676A4A381E2}"/>
              </a:ext>
            </a:extLst>
          </p:cNvPr>
          <p:cNvSpPr/>
          <p:nvPr/>
        </p:nvSpPr>
        <p:spPr>
          <a:xfrm>
            <a:off x="656568" y="3541374"/>
            <a:ext cx="10810000" cy="846613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/>
            <a:endParaRPr lang="en-GB" sz="1333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22" name="TextBox 23">
            <a:extLst>
              <a:ext uri="{FF2B5EF4-FFF2-40B4-BE49-F238E27FC236}">
                <a16:creationId xmlns:a16="http://schemas.microsoft.com/office/drawing/2014/main" id="{A65F19D2-5C55-45EE-BEDA-768E55FED8B0}"/>
              </a:ext>
            </a:extLst>
          </p:cNvPr>
          <p:cNvSpPr txBox="1"/>
          <p:nvPr/>
        </p:nvSpPr>
        <p:spPr>
          <a:xfrm>
            <a:off x="4027854" y="980915"/>
            <a:ext cx="385082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40"/>
            <a:r>
              <a:rPr lang="en-GB" sz="1200" i="1" dirty="0">
                <a:solidFill>
                  <a:srgbClr val="FFFFFF"/>
                </a:solidFill>
                <a:latin typeface="+mj-lt"/>
              </a:rPr>
              <a:t>Develop processes and partnerships and pilot new solution to convey benefits 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F0D5FBF0-B8FC-49D0-97C1-3F7D912B3B19}"/>
              </a:ext>
            </a:extLst>
          </p:cNvPr>
          <p:cNvSpPr txBox="1"/>
          <p:nvPr/>
        </p:nvSpPr>
        <p:spPr>
          <a:xfrm>
            <a:off x="7913124" y="980915"/>
            <a:ext cx="35803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40"/>
            <a:r>
              <a:rPr lang="en-GB" sz="1200" i="1" dirty="0">
                <a:solidFill>
                  <a:srgbClr val="FFFFFF"/>
                </a:solidFill>
                <a:latin typeface="+mj-lt"/>
              </a:rPr>
              <a:t>Adopt multiple circular business models across own operations and value chain</a:t>
            </a:r>
          </a:p>
        </p:txBody>
      </p:sp>
      <p:sp>
        <p:nvSpPr>
          <p:cNvPr id="24" name="Rectangle 33">
            <a:extLst>
              <a:ext uri="{FF2B5EF4-FFF2-40B4-BE49-F238E27FC236}">
                <a16:creationId xmlns:a16="http://schemas.microsoft.com/office/drawing/2014/main" id="{B39B266D-275E-40C9-B470-1BA8A6837C47}"/>
              </a:ext>
            </a:extLst>
          </p:cNvPr>
          <p:cNvSpPr/>
          <p:nvPr/>
        </p:nvSpPr>
        <p:spPr>
          <a:xfrm>
            <a:off x="656568" y="4451327"/>
            <a:ext cx="10810000" cy="846613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/>
            <a:endParaRPr lang="en-GB" sz="1333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25" name="Rectangle 33">
            <a:extLst>
              <a:ext uri="{FF2B5EF4-FFF2-40B4-BE49-F238E27FC236}">
                <a16:creationId xmlns:a16="http://schemas.microsoft.com/office/drawing/2014/main" id="{2611789E-4855-442C-AD67-02B899071403}"/>
              </a:ext>
            </a:extLst>
          </p:cNvPr>
          <p:cNvSpPr/>
          <p:nvPr/>
        </p:nvSpPr>
        <p:spPr>
          <a:xfrm>
            <a:off x="656568" y="5361279"/>
            <a:ext cx="10810000" cy="846613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/>
            <a:endParaRPr lang="en-GB" sz="1333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C329F8-7683-4843-9391-0FA18A6B672A}"/>
              </a:ext>
            </a:extLst>
          </p:cNvPr>
          <p:cNvSpPr/>
          <p:nvPr/>
        </p:nvSpPr>
        <p:spPr>
          <a:xfrm>
            <a:off x="3503878" y="1492618"/>
            <a:ext cx="1018145" cy="16439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/>
            <a:r>
              <a:rPr lang="en-GB" sz="1067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__________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42808A-A6A8-4619-A8E4-B427687BE850}"/>
              </a:ext>
            </a:extLst>
          </p:cNvPr>
          <p:cNvSpPr/>
          <p:nvPr/>
        </p:nvSpPr>
        <p:spPr>
          <a:xfrm>
            <a:off x="7387447" y="1492618"/>
            <a:ext cx="1016101" cy="16439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/>
            <a:r>
              <a:rPr lang="en-GB" sz="1067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__________</a:t>
            </a:r>
          </a:p>
        </p:txBody>
      </p:sp>
      <p:sp>
        <p:nvSpPr>
          <p:cNvPr id="28" name="Rectangle 71">
            <a:extLst>
              <a:ext uri="{FF2B5EF4-FFF2-40B4-BE49-F238E27FC236}">
                <a16:creationId xmlns:a16="http://schemas.microsoft.com/office/drawing/2014/main" id="{94FCE88F-61A8-4D2E-AD19-985BDEF98B6C}"/>
              </a:ext>
            </a:extLst>
          </p:cNvPr>
          <p:cNvSpPr/>
          <p:nvPr/>
        </p:nvSpPr>
        <p:spPr>
          <a:xfrm>
            <a:off x="10849878" y="1346455"/>
            <a:ext cx="396700" cy="164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8000" tIns="0" rIns="48000" bIns="0">
            <a:spAutoFit/>
          </a:bodyPr>
          <a:lstStyle/>
          <a:p>
            <a:pPr defTabSz="1219140"/>
            <a:r>
              <a:rPr lang="en-GB" sz="1067" b="1" dirty="0">
                <a:solidFill>
                  <a:srgbClr val="000000"/>
                </a:solidFill>
                <a:latin typeface="+mj-lt"/>
              </a:rPr>
              <a:t>Time</a:t>
            </a:r>
          </a:p>
        </p:txBody>
      </p:sp>
      <p:sp>
        <p:nvSpPr>
          <p:cNvPr id="35" name="Rectangle: Top Corners Rounded 39">
            <a:extLst>
              <a:ext uri="{FF2B5EF4-FFF2-40B4-BE49-F238E27FC236}">
                <a16:creationId xmlns:a16="http://schemas.microsoft.com/office/drawing/2014/main" id="{534B0536-9222-4A05-856D-4D1C938ADA1C}"/>
              </a:ext>
            </a:extLst>
          </p:cNvPr>
          <p:cNvSpPr/>
          <p:nvPr/>
        </p:nvSpPr>
        <p:spPr>
          <a:xfrm>
            <a:off x="689470" y="786294"/>
            <a:ext cx="3266741" cy="549017"/>
          </a:xfrm>
          <a:prstGeom prst="round2Same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19140"/>
            <a:r>
              <a:rPr lang="en-GB" sz="1333" b="1" dirty="0">
                <a:solidFill>
                  <a:srgbClr val="FFFFFF"/>
                </a:solidFill>
                <a:latin typeface="+mj-lt"/>
              </a:rPr>
              <a:t>I. Explore &amp; Shape</a:t>
            </a:r>
          </a:p>
        </p:txBody>
      </p:sp>
      <p:sp>
        <p:nvSpPr>
          <p:cNvPr id="36" name="TextBox 22">
            <a:extLst>
              <a:ext uri="{FF2B5EF4-FFF2-40B4-BE49-F238E27FC236}">
                <a16:creationId xmlns:a16="http://schemas.microsoft.com/office/drawing/2014/main" id="{19FF9B8E-B25B-4049-BBAE-5BE4C39DB2F4}"/>
              </a:ext>
            </a:extLst>
          </p:cNvPr>
          <p:cNvSpPr txBox="1"/>
          <p:nvPr/>
        </p:nvSpPr>
        <p:spPr>
          <a:xfrm>
            <a:off x="682341" y="980915"/>
            <a:ext cx="32854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40"/>
            <a:r>
              <a:rPr lang="en-GB" sz="1200" i="1" dirty="0">
                <a:solidFill>
                  <a:srgbClr val="FFFFFF"/>
                </a:solidFill>
                <a:latin typeface="+mj-lt"/>
              </a:rPr>
              <a:t>Develop concepts for target business models, look for partners, design and test prototype(s) </a:t>
            </a:r>
          </a:p>
        </p:txBody>
      </p:sp>
      <p:cxnSp>
        <p:nvCxnSpPr>
          <p:cNvPr id="20" name="Straight Connector 7">
            <a:extLst>
              <a:ext uri="{FF2B5EF4-FFF2-40B4-BE49-F238E27FC236}">
                <a16:creationId xmlns:a16="http://schemas.microsoft.com/office/drawing/2014/main" id="{986C43C8-76E4-417E-B340-B5953DD80DF2}"/>
              </a:ext>
            </a:extLst>
          </p:cNvPr>
          <p:cNvCxnSpPr>
            <a:cxnSpLocks/>
          </p:cNvCxnSpPr>
          <p:nvPr/>
        </p:nvCxnSpPr>
        <p:spPr>
          <a:xfrm>
            <a:off x="3996311" y="1695748"/>
            <a:ext cx="0" cy="45293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8">
            <a:extLst>
              <a:ext uri="{FF2B5EF4-FFF2-40B4-BE49-F238E27FC236}">
                <a16:creationId xmlns:a16="http://schemas.microsoft.com/office/drawing/2014/main" id="{4CDC6AF5-60E0-43E1-A722-D80D6407CCFD}"/>
              </a:ext>
            </a:extLst>
          </p:cNvPr>
          <p:cNvCxnSpPr>
            <a:cxnSpLocks/>
          </p:cNvCxnSpPr>
          <p:nvPr/>
        </p:nvCxnSpPr>
        <p:spPr>
          <a:xfrm>
            <a:off x="7895899" y="1695748"/>
            <a:ext cx="0" cy="45293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6">
            <a:extLst>
              <a:ext uri="{FF2B5EF4-FFF2-40B4-BE49-F238E27FC236}">
                <a16:creationId xmlns:a16="http://schemas.microsoft.com/office/drawing/2014/main" id="{B32060CF-3A72-4E9F-BFCF-F9C5E2FEDD4B}"/>
              </a:ext>
            </a:extLst>
          </p:cNvPr>
          <p:cNvSpPr txBox="1"/>
          <p:nvPr/>
        </p:nvSpPr>
        <p:spPr>
          <a:xfrm rot="5400000">
            <a:off x="965011" y="519465"/>
            <a:ext cx="328423" cy="1995937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spAutoFit/>
          </a:bodyPr>
          <a:lstStyle/>
          <a:p>
            <a:pPr defTabSz="1219140"/>
            <a:r>
              <a:rPr lang="en-GB" sz="1067" b="1" dirty="0">
                <a:solidFill>
                  <a:srgbClr val="000000"/>
                </a:solidFill>
                <a:latin typeface="+mj-lt"/>
              </a:rPr>
              <a:t>Define your time line – depending on the pace you chose</a:t>
            </a:r>
          </a:p>
        </p:txBody>
      </p:sp>
    </p:spTree>
    <p:extLst>
      <p:ext uri="{BB962C8B-B14F-4D97-AF65-F5344CB8AC3E}">
        <p14:creationId xmlns:p14="http://schemas.microsoft.com/office/powerpoint/2010/main" val="408162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lsKpW5UjJUaHqt9T.s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lsKpW5UjJUaHqt9T.s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v9cTicU7WvXtmWSOuL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0wGsg8y3nljU8CeZTi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GsNT5HAJYG3TsiML6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heme/theme1.xml><?xml version="1.0" encoding="utf-8"?>
<a:theme xmlns:a="http://schemas.openxmlformats.org/drawingml/2006/main" name="Nordic Innovation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dic Innovation" id="{4E27DE22-8D69-4343-B4FD-A90AC9F04A63}" vid="{07F6E0CA-B6D7-461E-A572-7274CDF9F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717AC7686615489B051784519862E6" ma:contentTypeVersion="9" ma:contentTypeDescription="Create a new document." ma:contentTypeScope="" ma:versionID="ed08ae27f0103113c31f643f1f13326d">
  <xsd:schema xmlns:xsd="http://www.w3.org/2001/XMLSchema" xmlns:xs="http://www.w3.org/2001/XMLSchema" xmlns:p="http://schemas.microsoft.com/office/2006/metadata/properties" xmlns:ns2="12368bc2-16db-41cd-8818-744de8f657e6" targetNamespace="http://schemas.microsoft.com/office/2006/metadata/properties" ma:root="true" ma:fieldsID="3d57010fd09968d1d6e2a91061c18147" ns2:_="">
    <xsd:import namespace="12368bc2-16db-41cd-8818-744de8f65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368bc2-16db-41cd-8818-744de8f657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AB377A-F62E-4DB7-A0A2-8E845A9D2CD5}">
  <ds:schemaRefs>
    <ds:schemaRef ds:uri="http://purl.org/dc/dcmitype/"/>
    <ds:schemaRef ds:uri="http://schemas.microsoft.com/office/2006/documentManagement/types"/>
    <ds:schemaRef ds:uri="12368bc2-16db-41cd-8818-744de8f657e6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36A219F-1FA8-4EA0-B2FA-EAE8A22D50A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34D6FA-3460-4605-9899-0BE8B8B06E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368bc2-16db-41cd-8818-744de8f65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Innovation</Template>
  <TotalTime>110</TotalTime>
  <Words>409</Words>
  <Application>Microsoft Office PowerPoint</Application>
  <PresentationFormat>Widescreen</PresentationFormat>
  <Paragraphs>63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orbel</vt:lpstr>
      <vt:lpstr>Georgia</vt:lpstr>
      <vt:lpstr>Graphik Semibold</vt:lpstr>
      <vt:lpstr>Symbol</vt:lpstr>
      <vt:lpstr>Verdana</vt:lpstr>
      <vt:lpstr>Nordic Innovation</vt:lpstr>
      <vt:lpstr>think-cell Slide</vt:lpstr>
      <vt:lpstr>PowerPoint Presentation</vt:lpstr>
      <vt:lpstr>Roadmap development – introduction </vt:lpstr>
      <vt:lpstr>Roadmap development – example </vt:lpstr>
      <vt:lpstr>PowerPoint Presentation</vt:lpstr>
      <vt:lpstr>Template: Roadmap development – List of activities (1/2) </vt:lpstr>
      <vt:lpstr>Template: Roadmap development – List of activities (2/2) </vt:lpstr>
      <vt:lpstr>Template: Roadmap development – Responsibilities and timi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åkansson, Martin</dc:creator>
  <cp:lastModifiedBy>Haugland, Silje</cp:lastModifiedBy>
  <cp:revision>2</cp:revision>
  <dcterms:created xsi:type="dcterms:W3CDTF">2019-09-24T10:12:37Z</dcterms:created>
  <dcterms:modified xsi:type="dcterms:W3CDTF">2020-10-23T11:5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717AC7686615489B051784519862E6</vt:lpwstr>
  </property>
</Properties>
</file>